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</p:sldMasterIdLst>
  <p:notesMasterIdLst>
    <p:notesMasterId r:id="rId7"/>
  </p:notesMasterIdLst>
  <p:sldIdLst>
    <p:sldId id="258" r:id="rId5"/>
    <p:sldId id="259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1E7C8E-E007-4173-A395-B4CC126FD2FF}" v="2" dt="2020-09-29T15:34:08.63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22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therland, Colin (Allianz SE)" userId="S::colin.sutherland@allianz.com::d7313e24-6259-482e-b9a5-134c31713c59" providerId="AD" clId="Web-{301E7C8E-E007-4173-A395-B4CC126FD2FF}"/>
    <pc:docChg chg="modSld">
      <pc:chgData name="Sutherland, Colin (Allianz SE)" userId="S::colin.sutherland@allianz.com::d7313e24-6259-482e-b9a5-134c31713c59" providerId="AD" clId="Web-{301E7C8E-E007-4173-A395-B4CC126FD2FF}" dt="2020-09-29T15:34:04.572" v="0" actId="20577"/>
      <pc:docMkLst>
        <pc:docMk/>
      </pc:docMkLst>
      <pc:sldChg chg="modSp">
        <pc:chgData name="Sutherland, Colin (Allianz SE)" userId="S::colin.sutherland@allianz.com::d7313e24-6259-482e-b9a5-134c31713c59" providerId="AD" clId="Web-{301E7C8E-E007-4173-A395-B4CC126FD2FF}" dt="2020-09-29T15:34:04.572" v="0" actId="20577"/>
        <pc:sldMkLst>
          <pc:docMk/>
          <pc:sldMk cId="1908679133" sldId="258"/>
        </pc:sldMkLst>
        <pc:spChg chg="mod">
          <ac:chgData name="Sutherland, Colin (Allianz SE)" userId="S::colin.sutherland@allianz.com::d7313e24-6259-482e-b9a5-134c31713c59" providerId="AD" clId="Web-{301E7C8E-E007-4173-A395-B4CC126FD2FF}" dt="2020-09-29T15:34:04.572" v="0" actId="20577"/>
          <ac:spMkLst>
            <pc:docMk/>
            <pc:sldMk cId="1908679133" sldId="258"/>
            <ac:spMk id="2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D6A59E-E4E0-46B5-8047-8FEF76BCC282}" type="datetimeFigureOut">
              <a:rPr lang="en-US" smtClean="0"/>
              <a:t>9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EF779E-2B4E-498D-BEDE-1746C863F8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38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7F3CE7-ED39-4DCA-B997-3091546AA5B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2852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66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9"/>
            <a:ext cx="4070286" cy="152840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 hasCustomPrompt="1"/>
          </p:nvPr>
        </p:nvSpPr>
        <p:spPr>
          <a:xfrm>
            <a:off x="6095206" y="515819"/>
            <a:ext cx="5601429" cy="5834299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AT" dirty="0"/>
              <a:t>Table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5588793" cy="768172"/>
          </a:xfrm>
        </p:spPr>
        <p:txBody>
          <a:bodyPr/>
          <a:lstStyle>
            <a:lvl1pPr>
              <a:defRPr lang="en-GB" sz="4399" b="1" kern="1200" cap="all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hteck 2"/>
          <p:cNvSpPr/>
          <p:nvPr/>
        </p:nvSpPr>
        <p:spPr>
          <a:xfrm>
            <a:off x="291970" y="6371716"/>
            <a:ext cx="1915091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766618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2000" cy="6858000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1" y="549982"/>
            <a:ext cx="6095999" cy="630801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48" y="2552109"/>
            <a:ext cx="4174452" cy="3296241"/>
          </a:xfrm>
        </p:spPr>
        <p:txBody>
          <a:bodyPr lIns="144000" tIns="216000" rIns="0" anchor="t"/>
          <a:lstStyle>
            <a:lvl1pPr>
              <a:defRPr lang="de-DE" sz="19996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8926" rtl="0" eaLnBrk="1" latinLnBrk="0" hangingPunct="1">
              <a:defRPr lang="de-DE" sz="3599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51146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0"/>
            <a:ext cx="12192000" cy="6858000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Grafik 8"/>
          <p:cNvPicPr>
            <a:picLocks noChangeAspect="1"/>
          </p:cNvPicPr>
          <p:nvPr/>
        </p:nvPicPr>
        <p:blipFill>
          <a:blip r:embed="rId2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96001" y="549982"/>
            <a:ext cx="6095999" cy="6308019"/>
          </a:xfrm>
          <a:prstGeom prst="rect">
            <a:avLst/>
          </a:prstGeom>
        </p:spPr>
      </p:pic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3599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0935" y="3559939"/>
            <a:ext cx="5295001" cy="25505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41247445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one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529996"/>
            <a:ext cx="11188638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File name | department | Author 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0994013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7" y="1272881"/>
            <a:ext cx="11188638" cy="509617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8CF97A73-07BF-48FE-BB0D-30D0899092BB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39762710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Head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4F7CF96B-801D-43B9-8D38-A7C526DDE340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9877718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0606" y="766622"/>
            <a:ext cx="3063639" cy="2034069"/>
          </a:xfrm>
        </p:spPr>
        <p:txBody>
          <a:bodyPr/>
          <a:lstStyle>
            <a:lvl1pPr>
              <a:defRPr lang="en-GB" sz="4399" b="1" kern="1200" cap="all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BEBBF31-CCB6-4212-944F-8F4BC63BC9DD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4139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813" y="1272881"/>
            <a:ext cx="8133823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8171"/>
            <a:ext cx="3054813" cy="3310759"/>
          </a:xfrm>
        </p:spPr>
        <p:txBody>
          <a:bodyPr/>
          <a:lstStyle>
            <a:lvl1pPr>
              <a:defRPr sz="4399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682A1DA-5024-4FE5-ABCE-643D5E93D8DF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04836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Content 2/3 Aere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3562813" y="1272881"/>
            <a:ext cx="3943864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7735307" y="1272881"/>
            <a:ext cx="3924511" cy="483758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8171"/>
            <a:ext cx="3054813" cy="3310759"/>
          </a:xfrm>
        </p:spPr>
        <p:txBody>
          <a:bodyPr/>
          <a:lstStyle>
            <a:lvl1pPr>
              <a:defRPr sz="4399"/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ADC6716-5E7C-4F56-A1C6-9E0FE07B5FF2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5729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7998" y="1529996"/>
            <a:ext cx="5515985" cy="458046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165382" y="1529996"/>
            <a:ext cx="5529795" cy="4580465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800" baseline="0">
                <a:solidFill>
                  <a:schemeClr val="tx1"/>
                </a:solidFill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B2442C99-0F9D-4507-9F65-F9CE67198C7C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177728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1" y="2264753"/>
            <a:ext cx="5600700" cy="3583596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1" y="1030050"/>
            <a:ext cx="4334505" cy="2277535"/>
          </a:xfrm>
        </p:spPr>
        <p:txBody>
          <a:bodyPr anchor="b"/>
          <a:lstStyle>
            <a:lvl1pPr>
              <a:defRPr sz="4399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67" y="3820228"/>
            <a:ext cx="4334439" cy="254893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794" y="1030050"/>
            <a:ext cx="5599842" cy="4818534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1C8E0627-C2E5-47FA-8926-1FCAAD4A91D9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noProof="0" dirty="0"/>
              <a:t>File name | department | Autho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1116841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oard Presenta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4842505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28"/>
            <a:ext cx="4070286" cy="15284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600" b="0" kern="1200" cap="none" baseline="0" noProof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368612" cy="768172"/>
          </a:xfrm>
        </p:spPr>
        <p:txBody>
          <a:bodyPr/>
          <a:lstStyle>
            <a:lvl1pPr>
              <a:defRPr lang="en-GB" sz="4399" b="1" kern="1200" cap="all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4842505" y="1"/>
            <a:ext cx="7349495" cy="534863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Pictur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291970" y="6371716"/>
            <a:ext cx="2059126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09" y="6008798"/>
            <a:ext cx="2035239" cy="22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77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1" y="2264753"/>
            <a:ext cx="5600700" cy="3583596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1" y="1030050"/>
            <a:ext cx="4334505" cy="2277535"/>
          </a:xfrm>
        </p:spPr>
        <p:txBody>
          <a:bodyPr anchor="b"/>
          <a:lstStyle>
            <a:lvl1pPr>
              <a:defRPr sz="4399"/>
            </a:lvl1pPr>
          </a:lstStyle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67" y="3820228"/>
            <a:ext cx="4334439" cy="254893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5936" y="1030050"/>
            <a:ext cx="5850700" cy="5080411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en-GB" dirty="0"/>
              <a:t>New Imag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7A6593E-7BD6-437C-89DF-200FDE92770C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7463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tra Headline with copy And Image - Varia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765321"/>
            <a:ext cx="5587999" cy="2303722"/>
          </a:xfrm>
        </p:spPr>
        <p:txBody>
          <a:bodyPr/>
          <a:lstStyle>
            <a:lvl1pPr>
              <a:defRPr lang="en-GB" sz="4399" b="1" kern="1200" cap="all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Title</a:t>
            </a:r>
            <a:endParaRPr lang="en-GB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794" y="952279"/>
            <a:ext cx="6095205" cy="590572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1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5587931" cy="228841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4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2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5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9431C40D-DD01-4A55-8567-941D708188F8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818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8" y="1529996"/>
            <a:ext cx="3576000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2" y="1529996"/>
            <a:ext cx="3568036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7999" y="1529996"/>
            <a:ext cx="3568702" cy="4839054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F576A0D-ED7E-48D1-B14F-F405EFB1B70B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2378923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ontent Areas –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999" y="4845052"/>
            <a:ext cx="3576000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1" y="4845052"/>
            <a:ext cx="3576000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0864" y="4845052"/>
            <a:ext cx="3575836" cy="152400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999" y="1530352"/>
            <a:ext cx="3576000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08083" y="1530352"/>
            <a:ext cx="3575836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20865" y="1530352"/>
            <a:ext cx="3575834" cy="3050116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/>
              <a:t>File name | department | Autho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9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1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0372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B1885D41-A020-4BF4-9470-7334EE10463D}" type="datetime1">
              <a:rPr lang="en-GB" smtClean="0"/>
              <a:t>29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3956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1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08081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20863" y="4580466"/>
            <a:ext cx="3576000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002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08080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27999" y="2032001"/>
            <a:ext cx="3576000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0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7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  <p:sp>
        <p:nvSpPr>
          <p:cNvPr id="20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0372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1E7C02CE-0C92-44B4-B268-CA7B775C5F30}" type="datetime1">
              <a:rPr lang="en-GB" smtClean="0"/>
              <a:t>29/09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17561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8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1" y="203010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8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1" y="432259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4401" y="2030105"/>
            <a:ext cx="25527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4400" y="432259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E80AD9F3-1DAD-4D71-9870-F7DFB096A1E7}" type="datetime1">
              <a:rPr lang="en-GB" smtClean="0"/>
              <a:t>29/09/2020</a:t>
            </a:fld>
            <a:endParaRPr lang="en-GB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2777573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 for Images, Equa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8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1" y="4333828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1" y="4322235"/>
            <a:ext cx="25440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88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1" y="203352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1" y="2032001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4401" y="4333828"/>
            <a:ext cx="2552700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1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4400" y="2033529"/>
            <a:ext cx="2544000" cy="178858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142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algn="l"/>
            <a:fld id="{CED184DC-2B85-49AB-8A9F-1078D9C399B7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8650817" cy="76817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0" name="Titel 22"/>
          <p:cNvSpPr>
            <a:spLocks noGrp="1"/>
          </p:cNvSpPr>
          <p:nvPr>
            <p:ph type="title" hasCustomPrompt="1"/>
          </p:nvPr>
        </p:nvSpPr>
        <p:spPr>
          <a:xfrm>
            <a:off x="508001" y="515818"/>
            <a:ext cx="10674352" cy="514232"/>
          </a:xfrm>
        </p:spPr>
        <p:txBody>
          <a:bodyPr tIns="36000"/>
          <a:lstStyle>
            <a:lvl1pPr>
              <a:defRPr sz="2999"/>
            </a:lvl1pPr>
          </a:lstStyle>
          <a:p>
            <a:r>
              <a:rPr lang="de-DE" dirty="0"/>
              <a:t>TitLE</a:t>
            </a:r>
            <a:endParaRPr lang="en-GB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4418" y="260290"/>
            <a:ext cx="5580789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 err="1"/>
              <a:t>Subject</a:t>
            </a:r>
            <a:r>
              <a:rPr lang="de-DE" dirty="0"/>
              <a:t> Line </a:t>
            </a:r>
            <a:r>
              <a:rPr lang="de-DE" dirty="0" err="1"/>
              <a:t>for</a:t>
            </a:r>
            <a:r>
              <a:rPr lang="de-DE" dirty="0"/>
              <a:t> Navigation</a:t>
            </a:r>
          </a:p>
        </p:txBody>
      </p:sp>
    </p:spTree>
    <p:extLst>
      <p:ext uri="{BB962C8B-B14F-4D97-AF65-F5344CB8AC3E}">
        <p14:creationId xmlns:p14="http://schemas.microsoft.com/office/powerpoint/2010/main" val="6690141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2908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361879" y="6927"/>
            <a:ext cx="4346079" cy="4838124"/>
          </a:xfrm>
          <a:solidFill>
            <a:srgbClr val="C3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21511"/>
            <a:ext cx="7362195" cy="68580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Pictur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625756" y="3307584"/>
            <a:ext cx="4070880" cy="771345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pic>
        <p:nvPicPr>
          <p:cNvPr id="13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794" y="765321"/>
            <a:ext cx="5599842" cy="768172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8" name="Rechteck 10"/>
          <p:cNvSpPr/>
          <p:nvPr userDrawn="1"/>
        </p:nvSpPr>
        <p:spPr>
          <a:xfrm>
            <a:off x="291970" y="6371716"/>
            <a:ext cx="2059126" cy="359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09" y="6008798"/>
            <a:ext cx="2035239" cy="22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984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4842505" cy="6857999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766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1070050"/>
            <a:ext cx="7878265" cy="1711028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5167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1" y="1"/>
            <a:ext cx="4842505" cy="6857999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4842507" y="6927"/>
            <a:ext cx="3805732" cy="5342287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397" y="5841749"/>
            <a:ext cx="2035239" cy="50881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053643"/>
            <a:ext cx="4070286" cy="766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Subline</a:t>
            </a:r>
          </a:p>
          <a:p>
            <a:pPr lvl="1"/>
            <a:r>
              <a:rPr lang="en-GB" noProof="0" dirty="0"/>
              <a:t>Bod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5321"/>
            <a:ext cx="7878265" cy="768172"/>
          </a:xfrm>
        </p:spPr>
        <p:txBody>
          <a:bodyPr/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2795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7"/>
            <a:ext cx="1651215" cy="5841422"/>
          </a:xfrm>
          <a:solidFill>
            <a:srgbClr val="C7D0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62813" y="1030050"/>
            <a:ext cx="8133822" cy="4818300"/>
          </a:xfrm>
          <a:prstGeom prst="rect">
            <a:avLst/>
          </a:prstGeom>
        </p:spPr>
        <p:txBody>
          <a:bodyPr wrap="square" tIns="0"/>
          <a:lstStyle>
            <a:lvl1pPr marL="0" algn="l" defTabSz="1218926" rtl="0" eaLnBrk="1" latinLnBrk="0" hangingPunct="1">
              <a:spcAft>
                <a:spcPts val="4799"/>
              </a:spcAft>
              <a:defRPr lang="de-DE" sz="18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1</a:t>
            </a:r>
          </a:p>
          <a:p>
            <a:pPr marL="0" marR="0" lvl="1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2</a:t>
            </a:r>
          </a:p>
          <a:p>
            <a:pPr marL="0" marR="0" lvl="2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3</a:t>
            </a:r>
          </a:p>
          <a:p>
            <a:pPr marL="0" marR="0" lvl="3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4</a:t>
            </a:r>
          </a:p>
          <a:p>
            <a:pPr marL="0" marR="0" lvl="4" indent="0" algn="l" defTabSz="1218926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05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1" y="768172"/>
            <a:ext cx="3054814" cy="645071"/>
          </a:xfrm>
        </p:spPr>
        <p:txBody>
          <a:bodyPr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File name | department | Autho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17979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7"/>
            <a:ext cx="5087756" cy="5841422"/>
          </a:xfrm>
          <a:solidFill>
            <a:srgbClr val="EB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6350" y="1416993"/>
            <a:ext cx="7105649" cy="495205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8001" y="1"/>
            <a:ext cx="7619470" cy="2925061"/>
          </a:xfrm>
        </p:spPr>
        <p:txBody>
          <a:bodyPr tIns="198000"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E7EF5B2B-A724-459E-BF1E-70C89B745F6C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32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Cut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110"/>
            <a:ext cx="5601429" cy="3324595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601429" y="1530350"/>
            <a:ext cx="6590570" cy="48387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GB" noProof="0" dirty="0"/>
              <a:t>New Image</a:t>
            </a:r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08001" y="1"/>
            <a:ext cx="7619471" cy="2925060"/>
          </a:xfrm>
        </p:spPr>
        <p:txBody>
          <a:bodyPr tIns="198000"/>
          <a:lstStyle>
            <a:lvl1pPr>
              <a:defRPr sz="4399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B29427BC-52AC-4355-B73B-BA78227DA467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475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with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2552110"/>
            <a:ext cx="5601429" cy="332459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1428" y="2552109"/>
            <a:ext cx="6095271" cy="3296241"/>
          </a:xfrm>
        </p:spPr>
        <p:txBody>
          <a:bodyPr lIns="360000" tIns="216000" rIns="0" anchor="t"/>
          <a:lstStyle>
            <a:lvl1pPr>
              <a:defRPr lang="de-DE" sz="19996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00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7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0"/>
            <a:ext cx="7619405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926" rtl="0" eaLnBrk="1" latinLnBrk="0" hangingPunct="1">
              <a:defRPr lang="de-DE" sz="4399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133" name="Freeform 54"/>
          <p:cNvSpPr>
            <a:spLocks noEditPoints="1"/>
          </p:cNvSpPr>
          <p:nvPr/>
        </p:nvSpPr>
        <p:spPr bwMode="auto">
          <a:xfrm>
            <a:off x="11387785" y="260649"/>
            <a:ext cx="308914" cy="309906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9" tIns="60944" rIns="121889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38"/>
            <a:ext cx="4334439" cy="228841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800" cap="none" baseline="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lnSpc>
                <a:spcPct val="100000"/>
              </a:lnSpc>
              <a:defRPr sz="1400"/>
            </a:lvl6pPr>
            <a:lvl7pPr>
              <a:lnSpc>
                <a:spcPct val="100000"/>
              </a:lnSpc>
              <a:defRPr sz="1400"/>
            </a:lvl7pPr>
            <a:lvl8pPr>
              <a:lnSpc>
                <a:spcPct val="100000"/>
              </a:lnSpc>
              <a:defRPr sz="12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en-GB" noProof="0" dirty="0"/>
              <a:t>01</a:t>
            </a:r>
          </a:p>
          <a:p>
            <a:pPr lvl="1"/>
            <a:r>
              <a:rPr lang="en-GB" noProof="0" dirty="0"/>
              <a:t>02</a:t>
            </a:r>
          </a:p>
          <a:p>
            <a:pPr lvl="2"/>
            <a:r>
              <a:rPr lang="en-GB" noProof="0" dirty="0"/>
              <a:t>03</a:t>
            </a:r>
          </a:p>
          <a:p>
            <a:pPr lvl="3"/>
            <a:r>
              <a:rPr lang="en-GB" noProof="0" dirty="0"/>
              <a:t>04</a:t>
            </a:r>
          </a:p>
          <a:p>
            <a:pPr lvl="4"/>
            <a:r>
              <a:rPr lang="en-GB" noProof="0" dirty="0"/>
              <a:t>05</a:t>
            </a:r>
          </a:p>
          <a:p>
            <a:pPr lvl="5"/>
            <a:r>
              <a:rPr lang="en-GB" noProof="0" dirty="0"/>
              <a:t>06</a:t>
            </a:r>
          </a:p>
          <a:p>
            <a:pPr lvl="6"/>
            <a:r>
              <a:rPr lang="en-GB" noProof="0" dirty="0"/>
              <a:t>07</a:t>
            </a:r>
          </a:p>
          <a:p>
            <a:pPr lvl="7"/>
            <a:r>
              <a:rPr lang="en-GB" noProof="0" dirty="0"/>
              <a:t>08</a:t>
            </a:r>
          </a:p>
          <a:p>
            <a:pPr lvl="8"/>
            <a:r>
              <a:rPr lang="en-GB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6"/>
          </p:nvPr>
        </p:nvSpPr>
        <p:spPr>
          <a:xfrm>
            <a:off x="2135044" y="6492896"/>
            <a:ext cx="792191" cy="1230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80090D1-2A79-4FBD-89AE-CDE38455C9ED}" type="datetime1">
              <a:rPr lang="en-GB" smtClean="0"/>
              <a:t>29/09/2020</a:t>
            </a:fld>
            <a:endParaRPr lang="en-GB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noProof="0"/>
              <a:t>File name | department | Author </a:t>
            </a:r>
            <a:endParaRPr lang="en-GB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825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0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01" y="261878"/>
            <a:ext cx="10674352" cy="768172"/>
          </a:xfrm>
          <a:prstGeom prst="rect">
            <a:avLst/>
          </a:prstGeom>
        </p:spPr>
        <p:txBody>
          <a:bodyPr vert="horz" wrap="square" lIns="0" tIns="288000" rIns="0" bIns="0" rtlCol="0" anchor="t">
            <a:noAutofit/>
          </a:bodyPr>
          <a:lstStyle/>
          <a:p>
            <a:r>
              <a:rPr lang="en-GB" noProof="0" dirty="0" err="1"/>
              <a:t>TitLE</a:t>
            </a:r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08002" y="6375047"/>
            <a:ext cx="2419234" cy="11785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File name | department | Author 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82352" y="6492446"/>
            <a:ext cx="514348" cy="365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83" name="Gerade Verbindung 182"/>
          <p:cNvCxnSpPr/>
          <p:nvPr/>
        </p:nvCxnSpPr>
        <p:spPr>
          <a:xfrm>
            <a:off x="6095999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/>
          <p:cNvCxnSpPr/>
          <p:nvPr/>
        </p:nvCxnSpPr>
        <p:spPr>
          <a:xfrm>
            <a:off x="511897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3306280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Gerade Verbindung 185"/>
          <p:cNvCxnSpPr/>
          <p:nvPr/>
        </p:nvCxnSpPr>
        <p:spPr>
          <a:xfrm>
            <a:off x="888610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/>
          <p:cNvCxnSpPr/>
          <p:nvPr/>
        </p:nvCxnSpPr>
        <p:spPr>
          <a:xfrm>
            <a:off x="11690492" y="-215950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Gerade Verbindung 187"/>
          <p:cNvCxnSpPr/>
          <p:nvPr/>
        </p:nvCxnSpPr>
        <p:spPr>
          <a:xfrm>
            <a:off x="6099810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>
          <a:xfrm>
            <a:off x="515707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/>
          <p:nvPr/>
        </p:nvCxnSpPr>
        <p:spPr>
          <a:xfrm>
            <a:off x="3310091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Gerade Verbindung 190"/>
          <p:cNvCxnSpPr/>
          <p:nvPr/>
        </p:nvCxnSpPr>
        <p:spPr>
          <a:xfrm>
            <a:off x="888991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Gerade Verbindung 191"/>
          <p:cNvCxnSpPr/>
          <p:nvPr/>
        </p:nvCxnSpPr>
        <p:spPr>
          <a:xfrm>
            <a:off x="11694302" y="6888393"/>
            <a:ext cx="0" cy="16198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507666" y="6492897"/>
            <a:ext cx="1843430" cy="123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SE</a:t>
            </a:r>
            <a:endParaRPr lang="en-GB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47" y="1272880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7665" y="1274105"/>
            <a:ext cx="11190257" cy="4836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01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47" y="1528726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 userDrawn="1"/>
        </p:nvGrpSpPr>
        <p:grpSpPr>
          <a:xfrm>
            <a:off x="8659847" y="1"/>
            <a:ext cx="1233692" cy="1233244"/>
            <a:chOff x="8658719" y="1"/>
            <a:chExt cx="1233531" cy="1233530"/>
          </a:xfrm>
        </p:grpSpPr>
        <p:sp>
          <p:nvSpPr>
            <p:cNvPr id="22" name="Rectangle 21"/>
            <p:cNvSpPr/>
            <p:nvPr userDrawn="1"/>
          </p:nvSpPr>
          <p:spPr>
            <a:xfrm>
              <a:off x="8658719" y="501582"/>
              <a:ext cx="731949" cy="731949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390669" y="1"/>
              <a:ext cx="501581" cy="5015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390669" y="501577"/>
              <a:ext cx="250790" cy="25079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100"/>
                </a:spcBef>
                <a:spcAft>
                  <a:spcPts val="100"/>
                </a:spcAft>
              </a:pPr>
              <a:endParaRPr lang="de-DE" sz="1400" dirty="0"/>
            </a:p>
          </p:txBody>
        </p:sp>
      </p:grp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1" t="28809" r="55667" b="26829"/>
          <a:stretch/>
        </p:blipFill>
        <p:spPr>
          <a:xfrm>
            <a:off x="8660081" y="-7677"/>
            <a:ext cx="689841" cy="53911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8651505" y="0"/>
            <a:ext cx="740385" cy="496170"/>
          </a:xfrm>
          <a:prstGeom prst="rect">
            <a:avLst/>
          </a:prstGeom>
          <a:solidFill>
            <a:schemeClr val="bg1">
              <a:alpha val="23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193303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</p:sldLayoutIdLst>
  <p:hf hdr="0" ftr="0" dt="0"/>
  <p:txStyles>
    <p:titleStyle>
      <a:lvl1pPr algn="l" defTabSz="1218926" rtl="0" eaLnBrk="1" latinLnBrk="0" hangingPunct="1">
        <a:spcBef>
          <a:spcPct val="0"/>
        </a:spcBef>
        <a:buNone/>
        <a:defRPr sz="299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52" marR="0" indent="-179352" algn="l" defTabSz="1218926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394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14" indent="-237014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52" indent="-179352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39" indent="-122739" algn="l" defTabSz="1218926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6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88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4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6" imgW="366" imgH="369" progId="TCLayout.ActiveDocument.1">
                  <p:embed/>
                </p:oleObj>
              </mc:Choice>
              <mc:Fallback>
                <p:oleObj name="think-cell Slide" r:id="rId6" imgW="366" imgH="36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2999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  <a:sym typeface="Allianz Neo" panose="020B0504020203020204" pitchFamily="34" charset="0"/>
            </a:endParaRP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89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201FF1-C63B-412E-ABF0-3D0E918900AC}" type="slidenum"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89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8"/>
          </p:nvPr>
        </p:nvSpPr>
        <p:spPr>
          <a:solidFill>
            <a:srgbClr val="DFEEDE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021" y="515818"/>
            <a:ext cx="11561260" cy="514232"/>
          </a:xfrm>
        </p:spPr>
        <p:txBody>
          <a:bodyPr/>
          <a:lstStyle/>
          <a:p>
            <a:r>
              <a:rPr lang="en-US" sz="2950" dirty="0">
                <a:latin typeface="Allianz Neo"/>
              </a:rPr>
              <a:t>DATA retention time in </a:t>
            </a:r>
            <a:r>
              <a:rPr lang="en-US" sz="2950" dirty="0" err="1">
                <a:latin typeface="Allianz Neo"/>
              </a:rPr>
              <a:t>GDp</a:t>
            </a:r>
            <a:endParaRPr lang="en-US" dirty="0" err="1">
              <a:latin typeface="Allianz Neo" panose="020B0504020203020204" pitchFamily="34" charset="0"/>
            </a:endParaRPr>
          </a:p>
        </p:txBody>
      </p:sp>
      <p:grpSp>
        <p:nvGrpSpPr>
          <p:cNvPr id="158" name="Group 157"/>
          <p:cNvGrpSpPr/>
          <p:nvPr/>
        </p:nvGrpSpPr>
        <p:grpSpPr>
          <a:xfrm>
            <a:off x="0" y="1283990"/>
            <a:ext cx="10814858" cy="4887453"/>
            <a:chOff x="429073" y="1341251"/>
            <a:chExt cx="10753279" cy="4887453"/>
          </a:xfrm>
        </p:grpSpPr>
        <p:sp>
          <p:nvSpPr>
            <p:cNvPr id="85" name="Rectangle 84"/>
            <p:cNvSpPr/>
            <p:nvPr/>
          </p:nvSpPr>
          <p:spPr>
            <a:xfrm>
              <a:off x="3409862" y="2322679"/>
              <a:ext cx="7772490" cy="1634944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3624348" y="3167494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ption Domain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Virtualised/Physical Datasets)</a:t>
              </a: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429073" y="6228703"/>
              <a:ext cx="1818623" cy="1"/>
            </a:xfrm>
            <a:prstGeom prst="line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lIns="46788" tIns="46788" rIns="46788" bIns="46788" anchor="ctr"/>
            <a:lstStyle>
              <a:defPPr>
                <a:defRPr lang="de-DE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TextBox 122"/>
            <p:cNvSpPr txBox="1"/>
            <p:nvPr/>
          </p:nvSpPr>
          <p:spPr>
            <a:xfrm>
              <a:off x="580247" y="5426921"/>
              <a:ext cx="1378981" cy="246164"/>
            </a:xfrm>
            <a:prstGeom prst="rect">
              <a:avLst/>
            </a:prstGeom>
            <a:ln w="12700">
              <a:noFill/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45708" rIns="45708">
              <a:spAutoFit/>
            </a:bodyPr>
            <a:lstStyle>
              <a:defPPr>
                <a:defRPr lang="de-DE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764" marR="0" lvl="0" indent="-177764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 sz="1100"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5448078" y="1341251"/>
              <a:ext cx="1240022" cy="7384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1218926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llianz Neo" panose="020B0504020203020204" pitchFamily="34" charset="0"/>
                  <a:ea typeface="+mn-ea"/>
                  <a:cs typeface="+mn-cs"/>
                </a:rPr>
                <a:t>Global Architecture Board </a:t>
              </a:r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814979" y="3977778"/>
              <a:ext cx="681643" cy="274320"/>
            </a:xfrm>
            <a:prstGeom prst="flowChartMagneticDisk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BS</a:t>
              </a:r>
            </a:p>
          </p:txBody>
        </p:sp>
        <p:sp>
          <p:nvSpPr>
            <p:cNvPr id="52" name="Flowchart: Magnetic Disk 51"/>
            <p:cNvSpPr/>
            <p:nvPr/>
          </p:nvSpPr>
          <p:spPr>
            <a:xfrm>
              <a:off x="1000630" y="4252098"/>
              <a:ext cx="681643" cy="274320"/>
            </a:xfrm>
            <a:prstGeom prst="flowChartMagneticDisk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V="1">
              <a:off x="1230283" y="3125585"/>
              <a:ext cx="0" cy="8146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/>
            <p:cNvSpPr/>
            <p:nvPr/>
          </p:nvSpPr>
          <p:spPr>
            <a:xfrm>
              <a:off x="580248" y="2510444"/>
              <a:ext cx="1315054" cy="615141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G Tool (Metadata)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094808" y="2193458"/>
              <a:ext cx="665018" cy="299295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ossary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094808" y="2534662"/>
              <a:ext cx="748145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talog/ Dictionary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094807" y="3039062"/>
              <a:ext cx="818011" cy="453183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z to Te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pping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213657" y="3352483"/>
              <a:ext cx="825070" cy="36085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chnical Metadata</a:t>
              </a:r>
            </a:p>
          </p:txBody>
        </p:sp>
        <p:cxnSp>
          <p:nvCxnSpPr>
            <p:cNvPr id="56" name="Straight Arrow Connector 55"/>
            <p:cNvCxnSpPr/>
            <p:nvPr/>
          </p:nvCxnSpPr>
          <p:spPr>
            <a:xfrm>
              <a:off x="1213657" y="1668455"/>
              <a:ext cx="7492" cy="85156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/>
          </p:nvSpPr>
          <p:spPr>
            <a:xfrm>
              <a:off x="1269738" y="1790236"/>
              <a:ext cx="825070" cy="360850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siness Metadata</a:t>
              </a:r>
            </a:p>
          </p:txBody>
        </p:sp>
        <p:sp>
          <p:nvSpPr>
            <p:cNvPr id="59" name="Right Brace 58"/>
            <p:cNvSpPr/>
            <p:nvPr/>
          </p:nvSpPr>
          <p:spPr>
            <a:xfrm>
              <a:off x="1895302" y="2343104"/>
              <a:ext cx="199506" cy="1597127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0" name="Straight Arrow Connector 59"/>
            <p:cNvCxnSpPr/>
            <p:nvPr/>
          </p:nvCxnSpPr>
          <p:spPr>
            <a:xfrm>
              <a:off x="1386396" y="1666530"/>
              <a:ext cx="2163139" cy="192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/>
            <p:cNvSpPr/>
            <p:nvPr/>
          </p:nvSpPr>
          <p:spPr>
            <a:xfrm>
              <a:off x="3549535" y="1358959"/>
              <a:ext cx="1024884" cy="615141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terprise Ontology</a:t>
              </a:r>
            </a:p>
          </p:txBody>
        </p:sp>
        <p:sp>
          <p:nvSpPr>
            <p:cNvPr id="65" name="Right Arrow 64"/>
            <p:cNvSpPr/>
            <p:nvPr/>
          </p:nvSpPr>
          <p:spPr>
            <a:xfrm rot="5400000">
              <a:off x="3842711" y="2102083"/>
              <a:ext cx="432262" cy="201671"/>
            </a:xfrm>
            <a:prstGeom prst="rightArrow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624349" y="2534662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ption View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Virtualised Datasets)</a:t>
              </a:r>
            </a:p>
          </p:txBody>
        </p:sp>
        <p:sp>
          <p:nvSpPr>
            <p:cNvPr id="67" name="Flowchart: Magnetic Disk 66"/>
            <p:cNvSpPr/>
            <p:nvPr/>
          </p:nvSpPr>
          <p:spPr>
            <a:xfrm>
              <a:off x="7215246" y="2683204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aAllz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lowchart: Magnetic Disk 67"/>
            <p:cNvSpPr/>
            <p:nvPr/>
          </p:nvSpPr>
          <p:spPr>
            <a:xfrm>
              <a:off x="8433161" y="2683204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dcorp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lowchart: Magnetic Disk 68"/>
            <p:cNvSpPr/>
            <p:nvPr/>
          </p:nvSpPr>
          <p:spPr>
            <a:xfrm>
              <a:off x="9561461" y="2696142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rect</a:t>
              </a:r>
            </a:p>
          </p:txBody>
        </p:sp>
        <p:sp>
          <p:nvSpPr>
            <p:cNvPr id="70" name="Flowchart: Magnetic Disk 69"/>
            <p:cNvSpPr/>
            <p:nvPr/>
          </p:nvSpPr>
          <p:spPr>
            <a:xfrm>
              <a:off x="5895445" y="2705787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EKG</a:t>
              </a: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624348" y="4176932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monised OE Mode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Virtualised/Physical Datasets)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624348" y="4883872"/>
              <a:ext cx="7331825" cy="590923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w Lay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ource Datasets)</a:t>
              </a:r>
            </a:p>
          </p:txBody>
        </p:sp>
        <p:cxnSp>
          <p:nvCxnSpPr>
            <p:cNvPr id="75" name="Elbow Connector 74"/>
            <p:cNvCxnSpPr>
              <a:stCxn id="52" idx="3"/>
              <a:endCxn id="73" idx="1"/>
            </p:cNvCxnSpPr>
            <p:nvPr/>
          </p:nvCxnSpPr>
          <p:spPr>
            <a:xfrm rot="16200000" flipH="1">
              <a:off x="2156442" y="3711428"/>
              <a:ext cx="652916" cy="2282896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/>
            <p:cNvSpPr txBox="1"/>
            <p:nvPr/>
          </p:nvSpPr>
          <p:spPr>
            <a:xfrm>
              <a:off x="2038727" y="4905040"/>
              <a:ext cx="825070" cy="25312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gestion Service</a:t>
              </a: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6159527" y="5031604"/>
              <a:ext cx="1217915" cy="277663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ient</a:t>
              </a: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7551908" y="5026753"/>
              <a:ext cx="1217915" cy="277663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arantined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8942261" y="5023817"/>
              <a:ext cx="1217915" cy="277663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ng Term</a:t>
              </a: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212082" y="1342467"/>
              <a:ext cx="5752406" cy="758232"/>
            </a:xfrm>
            <a:prstGeom prst="rect">
              <a:avLst/>
            </a:prstGeom>
            <a:solidFill>
              <a:srgbClr val="F4F2F2"/>
            </a:solidFill>
            <a:ln>
              <a:noFill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rch &amp; Consume (access consumption views via multiple channels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5358616" y="1755900"/>
              <a:ext cx="1435573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rch &amp; Find</a:t>
              </a: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9912954" y="1760671"/>
              <a:ext cx="727763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STR</a:t>
              </a: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8505174" y="1753835"/>
              <a:ext cx="1316568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d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Reports</a:t>
              </a: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6874410" y="1753835"/>
              <a:ext cx="1567065" cy="21935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xplore/Discover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409861" y="2305173"/>
              <a:ext cx="3553541" cy="25312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mantic Layer (standardises schemas and drives Business Centric Data Access)</a:t>
              </a:r>
            </a:p>
          </p:txBody>
        </p:sp>
        <p:sp>
          <p:nvSpPr>
            <p:cNvPr id="87" name="Flowchart: Magnetic Disk 86"/>
            <p:cNvSpPr/>
            <p:nvPr/>
          </p:nvSpPr>
          <p:spPr>
            <a:xfrm>
              <a:off x="6375759" y="3335158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aim</a:t>
              </a:r>
            </a:p>
          </p:txBody>
        </p:sp>
        <p:sp>
          <p:nvSpPr>
            <p:cNvPr id="88" name="Flowchart: Magnetic Disk 87"/>
            <p:cNvSpPr/>
            <p:nvPr/>
          </p:nvSpPr>
          <p:spPr>
            <a:xfrm>
              <a:off x="7447534" y="3335157"/>
              <a:ext cx="109610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Contract</a:t>
              </a:r>
            </a:p>
          </p:txBody>
        </p:sp>
        <p:sp>
          <p:nvSpPr>
            <p:cNvPr id="89" name="Flowchart: Magnetic Disk 88"/>
            <p:cNvSpPr/>
            <p:nvPr/>
          </p:nvSpPr>
          <p:spPr>
            <a:xfrm>
              <a:off x="8769823" y="3335159"/>
              <a:ext cx="873039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Party</a:t>
              </a:r>
            </a:p>
          </p:txBody>
        </p:sp>
        <p:sp>
          <p:nvSpPr>
            <p:cNvPr id="90" name="Flowchart: Magnetic Disk 89"/>
            <p:cNvSpPr/>
            <p:nvPr/>
          </p:nvSpPr>
          <p:spPr>
            <a:xfrm>
              <a:off x="9767678" y="3318170"/>
              <a:ext cx="1055493" cy="289569"/>
            </a:xfrm>
            <a:prstGeom prst="flowChartMagneticDisk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Finance</a:t>
              </a:r>
            </a:p>
          </p:txBody>
        </p:sp>
        <p:cxnSp>
          <p:nvCxnSpPr>
            <p:cNvPr id="92" name="Straight Arrow Connector 91"/>
            <p:cNvCxnSpPr>
              <a:stCxn id="87" idx="1"/>
            </p:cNvCxnSpPr>
            <p:nvPr/>
          </p:nvCxnSpPr>
          <p:spPr>
            <a:xfrm flipH="1" flipV="1">
              <a:off x="6492240" y="2985711"/>
              <a:ext cx="320039" cy="3494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/>
            <p:cNvCxnSpPr>
              <a:stCxn id="87" idx="1"/>
              <a:endCxn id="67" idx="3"/>
            </p:cNvCxnSpPr>
            <p:nvPr/>
          </p:nvCxnSpPr>
          <p:spPr>
            <a:xfrm flipV="1">
              <a:off x="6812279" y="2972773"/>
              <a:ext cx="839487" cy="3623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/>
            <p:cNvCxnSpPr>
              <a:stCxn id="87" idx="1"/>
              <a:endCxn id="68" idx="3"/>
            </p:cNvCxnSpPr>
            <p:nvPr/>
          </p:nvCxnSpPr>
          <p:spPr>
            <a:xfrm flipV="1">
              <a:off x="6812279" y="2972773"/>
              <a:ext cx="2057402" cy="3623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/>
            <p:cNvCxnSpPr>
              <a:stCxn id="87" idx="1"/>
              <a:endCxn id="69" idx="3"/>
            </p:cNvCxnSpPr>
            <p:nvPr/>
          </p:nvCxnSpPr>
          <p:spPr>
            <a:xfrm flipV="1">
              <a:off x="6812279" y="2985711"/>
              <a:ext cx="3185702" cy="3494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Arrow Connector 99"/>
            <p:cNvCxnSpPr>
              <a:stCxn id="88" idx="1"/>
            </p:cNvCxnSpPr>
            <p:nvPr/>
          </p:nvCxnSpPr>
          <p:spPr>
            <a:xfrm flipH="1" flipV="1">
              <a:off x="6492240" y="3039062"/>
              <a:ext cx="1503349" cy="29609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>
              <a:stCxn id="88" idx="1"/>
              <a:endCxn id="67" idx="3"/>
            </p:cNvCxnSpPr>
            <p:nvPr/>
          </p:nvCxnSpPr>
          <p:spPr>
            <a:xfrm flipH="1" flipV="1">
              <a:off x="7651766" y="2972773"/>
              <a:ext cx="343823" cy="3623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Arrow Connector 103"/>
            <p:cNvCxnSpPr>
              <a:stCxn id="88" idx="1"/>
              <a:endCxn id="68" idx="3"/>
            </p:cNvCxnSpPr>
            <p:nvPr/>
          </p:nvCxnSpPr>
          <p:spPr>
            <a:xfrm flipV="1">
              <a:off x="7995589" y="2972773"/>
              <a:ext cx="874092" cy="3623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>
              <a:stCxn id="88" idx="1"/>
            </p:cNvCxnSpPr>
            <p:nvPr/>
          </p:nvCxnSpPr>
          <p:spPr>
            <a:xfrm flipV="1">
              <a:off x="7995589" y="2995356"/>
              <a:ext cx="1917365" cy="3398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>
              <a:stCxn id="89" idx="1"/>
            </p:cNvCxnSpPr>
            <p:nvPr/>
          </p:nvCxnSpPr>
          <p:spPr>
            <a:xfrm flipH="1" flipV="1">
              <a:off x="6467395" y="2995356"/>
              <a:ext cx="2738948" cy="33980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Arrow Connector 109"/>
            <p:cNvCxnSpPr>
              <a:stCxn id="89" idx="1"/>
              <a:endCxn id="67" idx="3"/>
            </p:cNvCxnSpPr>
            <p:nvPr/>
          </p:nvCxnSpPr>
          <p:spPr>
            <a:xfrm flipH="1" flipV="1">
              <a:off x="7651766" y="2972773"/>
              <a:ext cx="1554577" cy="36238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111"/>
            <p:cNvCxnSpPr>
              <a:stCxn id="89" idx="1"/>
              <a:endCxn id="68" idx="3"/>
            </p:cNvCxnSpPr>
            <p:nvPr/>
          </p:nvCxnSpPr>
          <p:spPr>
            <a:xfrm flipH="1" flipV="1">
              <a:off x="8869681" y="2972773"/>
              <a:ext cx="336662" cy="36238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/>
            <p:cNvCxnSpPr>
              <a:stCxn id="89" idx="1"/>
              <a:endCxn id="69" idx="3"/>
            </p:cNvCxnSpPr>
            <p:nvPr/>
          </p:nvCxnSpPr>
          <p:spPr>
            <a:xfrm flipV="1">
              <a:off x="9206343" y="2985711"/>
              <a:ext cx="791638" cy="34944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/>
            <p:cNvCxnSpPr>
              <a:stCxn id="90" idx="1"/>
            </p:cNvCxnSpPr>
            <p:nvPr/>
          </p:nvCxnSpPr>
          <p:spPr>
            <a:xfrm flipH="1" flipV="1">
              <a:off x="6586099" y="3039062"/>
              <a:ext cx="3709326" cy="2791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Arrow Connector 117"/>
            <p:cNvCxnSpPr>
              <a:stCxn id="90" idx="1"/>
            </p:cNvCxnSpPr>
            <p:nvPr/>
          </p:nvCxnSpPr>
          <p:spPr>
            <a:xfrm flipH="1" flipV="1">
              <a:off x="7551908" y="2995356"/>
              <a:ext cx="2743517" cy="3228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Arrow Connector 119"/>
            <p:cNvCxnSpPr>
              <a:stCxn id="90" idx="1"/>
            </p:cNvCxnSpPr>
            <p:nvPr/>
          </p:nvCxnSpPr>
          <p:spPr>
            <a:xfrm flipH="1" flipV="1">
              <a:off x="8869681" y="2995356"/>
              <a:ext cx="1425744" cy="32281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/>
            <p:cNvCxnSpPr>
              <a:stCxn id="90" idx="1"/>
              <a:endCxn id="69" idx="3"/>
            </p:cNvCxnSpPr>
            <p:nvPr/>
          </p:nvCxnSpPr>
          <p:spPr>
            <a:xfrm flipH="1" flipV="1">
              <a:off x="9997981" y="2985711"/>
              <a:ext cx="297444" cy="33245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Rounded Rectangle 122"/>
            <p:cNvSpPr/>
            <p:nvPr/>
          </p:nvSpPr>
          <p:spPr>
            <a:xfrm>
              <a:off x="6419937" y="4333561"/>
              <a:ext cx="3655088" cy="376996"/>
            </a:xfrm>
            <a:prstGeom prst="round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rmonised  Enterprise Data Schema 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nternal &amp; external data)</a:t>
              </a:r>
            </a:p>
          </p:txBody>
        </p:sp>
        <p:cxnSp>
          <p:nvCxnSpPr>
            <p:cNvPr id="125" name="Straight Arrow Connector 124"/>
            <p:cNvCxnSpPr>
              <a:stCxn id="77" idx="0"/>
            </p:cNvCxnSpPr>
            <p:nvPr/>
          </p:nvCxnSpPr>
          <p:spPr>
            <a:xfrm flipH="1" flipV="1">
              <a:off x="6768484" y="4710557"/>
              <a:ext cx="1" cy="32104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TextBox 127"/>
            <p:cNvSpPr txBox="1"/>
            <p:nvPr/>
          </p:nvSpPr>
          <p:spPr>
            <a:xfrm>
              <a:off x="6747662" y="4726312"/>
              <a:ext cx="825070" cy="253128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mapping </a:t>
              </a: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2106325" y="3457211"/>
              <a:ext cx="818011" cy="607071"/>
            </a:xfrm>
            <a:prstGeom prst="rect">
              <a:avLst/>
            </a:prstGeom>
          </p:spPr>
          <p:txBody>
            <a:bodyPr vert="horz" wrap="square" lIns="72000" tIns="72000" rIns="72000" bIns="7200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hema to Schema Mappings</a:t>
              </a:r>
            </a:p>
          </p:txBody>
        </p:sp>
        <p:cxnSp>
          <p:nvCxnSpPr>
            <p:cNvPr id="131" name="Elbow Connector 130"/>
            <p:cNvCxnSpPr>
              <a:stCxn id="129" idx="2"/>
              <a:endCxn id="128" idx="1"/>
            </p:cNvCxnSpPr>
            <p:nvPr/>
          </p:nvCxnSpPr>
          <p:spPr>
            <a:xfrm rot="16200000" flipH="1">
              <a:off x="4237199" y="2342413"/>
              <a:ext cx="788594" cy="4232331"/>
            </a:xfrm>
            <a:prstGeom prst="bentConnector2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33" name="Straight Arrow Connector 132"/>
            <p:cNvCxnSpPr>
              <a:endCxn id="87" idx="3"/>
            </p:cNvCxnSpPr>
            <p:nvPr/>
          </p:nvCxnSpPr>
          <p:spPr>
            <a:xfrm flipH="1" flipV="1">
              <a:off x="6812279" y="3624727"/>
              <a:ext cx="261852" cy="70883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Arrow Connector 134"/>
            <p:cNvCxnSpPr>
              <a:endCxn id="88" idx="3"/>
            </p:cNvCxnSpPr>
            <p:nvPr/>
          </p:nvCxnSpPr>
          <p:spPr>
            <a:xfrm flipV="1">
              <a:off x="7745842" y="3624726"/>
              <a:ext cx="249747" cy="68916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Arrow Connector 136"/>
            <p:cNvCxnSpPr>
              <a:endCxn id="89" idx="3"/>
            </p:cNvCxnSpPr>
            <p:nvPr/>
          </p:nvCxnSpPr>
          <p:spPr>
            <a:xfrm flipV="1">
              <a:off x="8869680" y="3624728"/>
              <a:ext cx="336663" cy="70883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Arrow Connector 138"/>
            <p:cNvCxnSpPr>
              <a:endCxn id="90" idx="3"/>
            </p:cNvCxnSpPr>
            <p:nvPr/>
          </p:nvCxnSpPr>
          <p:spPr>
            <a:xfrm flipV="1">
              <a:off x="9536939" y="3607739"/>
              <a:ext cx="758486" cy="72582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Arrow Connector 140"/>
            <p:cNvCxnSpPr>
              <a:stCxn id="70" idx="1"/>
            </p:cNvCxnSpPr>
            <p:nvPr/>
          </p:nvCxnSpPr>
          <p:spPr>
            <a:xfrm flipV="1">
              <a:off x="6331965" y="1986787"/>
              <a:ext cx="1240767" cy="719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Arrow Connector 142"/>
            <p:cNvCxnSpPr>
              <a:stCxn id="67" idx="1"/>
              <a:endCxn id="83" idx="2"/>
            </p:cNvCxnSpPr>
            <p:nvPr/>
          </p:nvCxnSpPr>
          <p:spPr>
            <a:xfrm flipV="1">
              <a:off x="7651766" y="1973193"/>
              <a:ext cx="1511692" cy="7100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Arrow Connector 144"/>
            <p:cNvCxnSpPr>
              <a:stCxn id="68" idx="1"/>
              <a:endCxn id="82" idx="2"/>
            </p:cNvCxnSpPr>
            <p:nvPr/>
          </p:nvCxnSpPr>
          <p:spPr>
            <a:xfrm flipV="1">
              <a:off x="8869681" y="1980029"/>
              <a:ext cx="1407155" cy="7031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Arrow Connector 146"/>
            <p:cNvCxnSpPr>
              <a:stCxn id="69" idx="1"/>
              <a:endCxn id="82" idx="2"/>
            </p:cNvCxnSpPr>
            <p:nvPr/>
          </p:nvCxnSpPr>
          <p:spPr>
            <a:xfrm flipV="1">
              <a:off x="9997981" y="1980029"/>
              <a:ext cx="278855" cy="71611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Arrow Connector 148"/>
            <p:cNvCxnSpPr>
              <a:stCxn id="69" idx="1"/>
              <a:endCxn id="83" idx="2"/>
            </p:cNvCxnSpPr>
            <p:nvPr/>
          </p:nvCxnSpPr>
          <p:spPr>
            <a:xfrm flipH="1" flipV="1">
              <a:off x="9163458" y="1973193"/>
              <a:ext cx="834523" cy="72294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/>
            <p:cNvCxnSpPr/>
            <p:nvPr/>
          </p:nvCxnSpPr>
          <p:spPr>
            <a:xfrm flipH="1" flipV="1">
              <a:off x="7478955" y="1952452"/>
              <a:ext cx="1408831" cy="71529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/>
            <p:cNvCxnSpPr>
              <a:stCxn id="70" idx="1"/>
              <a:endCxn id="81" idx="2"/>
            </p:cNvCxnSpPr>
            <p:nvPr/>
          </p:nvCxnSpPr>
          <p:spPr>
            <a:xfrm flipH="1" flipV="1">
              <a:off x="6076403" y="1975258"/>
              <a:ext cx="255562" cy="7305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Arrow Connector 154"/>
            <p:cNvCxnSpPr>
              <a:stCxn id="67" idx="1"/>
              <a:endCxn id="81" idx="2"/>
            </p:cNvCxnSpPr>
            <p:nvPr/>
          </p:nvCxnSpPr>
          <p:spPr>
            <a:xfrm flipH="1" flipV="1">
              <a:off x="6076403" y="1975258"/>
              <a:ext cx="1575363" cy="7079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Arrow Connector 156"/>
            <p:cNvCxnSpPr>
              <a:stCxn id="68" idx="1"/>
            </p:cNvCxnSpPr>
            <p:nvPr/>
          </p:nvCxnSpPr>
          <p:spPr>
            <a:xfrm flipV="1">
              <a:off x="8869681" y="1986787"/>
              <a:ext cx="293777" cy="69641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9" name="Rounded Rectangle 158"/>
          <p:cNvSpPr/>
          <p:nvPr/>
        </p:nvSpPr>
        <p:spPr>
          <a:xfrm>
            <a:off x="10922924" y="1283990"/>
            <a:ext cx="1186152" cy="421072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0" name="Rounded Rectangle 159"/>
          <p:cNvSpPr/>
          <p:nvPr/>
        </p:nvSpPr>
        <p:spPr>
          <a:xfrm>
            <a:off x="10982827" y="4113374"/>
            <a:ext cx="1088454" cy="600778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Warehous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Rounded Rectangle 160"/>
          <p:cNvSpPr/>
          <p:nvPr/>
        </p:nvSpPr>
        <p:spPr>
          <a:xfrm>
            <a:off x="10945637" y="3122291"/>
            <a:ext cx="1140725" cy="600778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ain Marts &amp; Conformed Dimensions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Rounded Rectangle 161"/>
          <p:cNvSpPr/>
          <p:nvPr/>
        </p:nvSpPr>
        <p:spPr>
          <a:xfrm>
            <a:off x="11020622" y="1508899"/>
            <a:ext cx="1088454" cy="375349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 Reports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11096743" y="680348"/>
            <a:ext cx="984371" cy="699404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W Object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7433015" y="3908086"/>
            <a:ext cx="829795" cy="253128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mappings </a:t>
            </a:r>
          </a:p>
        </p:txBody>
      </p:sp>
      <p:cxnSp>
        <p:nvCxnSpPr>
          <p:cNvPr id="166" name="Straight Connector 165"/>
          <p:cNvCxnSpPr>
            <a:stCxn id="129" idx="2"/>
            <a:endCxn id="164" idx="1"/>
          </p:cNvCxnSpPr>
          <p:nvPr/>
        </p:nvCxnSpPr>
        <p:spPr>
          <a:xfrm>
            <a:off x="2098205" y="4007021"/>
            <a:ext cx="5334810" cy="276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ounded Rectangle 167"/>
          <p:cNvSpPr/>
          <p:nvPr/>
        </p:nvSpPr>
        <p:spPr>
          <a:xfrm>
            <a:off x="10926248" y="2271912"/>
            <a:ext cx="1140725" cy="796412"/>
          </a:xfrm>
          <a:prstGeom prst="roundRect">
            <a:avLst/>
          </a:prstGeom>
          <a:solidFill>
            <a:srgbClr val="F4F2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ject Specific Marts &amp; Dimensions (MSTR Layer)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590256" y="5615824"/>
            <a:ext cx="2112816" cy="991792"/>
          </a:xfrm>
          <a:prstGeom prst="rect">
            <a:avLst/>
          </a:prstGeom>
          <a:solidFill>
            <a:srgbClr val="FFFF00"/>
          </a:solidFill>
          <a:ln w="19050">
            <a:solidFill>
              <a:schemeClr val="accent4">
                <a:lumMod val="75000"/>
              </a:schemeClr>
            </a:solidFill>
          </a:ln>
        </p:spPr>
        <p:txBody>
          <a:bodyPr vert="horz" wrap="square" lIns="72000" tIns="72000" rIns="72000" bIns="7200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/>
              <a:t>Always keep the 2 last deliveries for the same As At Date until one version is signed off. Then move to LT</a:t>
            </a:r>
          </a:p>
          <a:p>
            <a:endParaRPr lang="en-US" sz="1100" dirty="0"/>
          </a:p>
        </p:txBody>
      </p:sp>
      <p:sp>
        <p:nvSpPr>
          <p:cNvPr id="93" name="TextBox 92"/>
          <p:cNvSpPr txBox="1"/>
          <p:nvPr/>
        </p:nvSpPr>
        <p:spPr>
          <a:xfrm>
            <a:off x="8092650" y="5694775"/>
            <a:ext cx="2193946" cy="653238"/>
          </a:xfrm>
          <a:prstGeom prst="rect">
            <a:avLst/>
          </a:prstGeom>
          <a:solidFill>
            <a:srgbClr val="FFFF00"/>
          </a:solidFill>
          <a:ln w="19050">
            <a:solidFill>
              <a:schemeClr val="accent4">
                <a:lumMod val="75000"/>
              </a:schemeClr>
            </a:solidFill>
          </a:ln>
        </p:spPr>
        <p:txBody>
          <a:bodyPr vert="horz" wrap="square" lIns="72000" tIns="72000" rIns="72000" bIns="7200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/>
              <a:t>Only the signed off version for each As At date submission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dirty="0"/>
              <a:t>As long as business needs it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1758804" y="6348013"/>
            <a:ext cx="1734458" cy="330072"/>
          </a:xfrm>
          <a:prstGeom prst="rect">
            <a:avLst/>
          </a:prstGeom>
          <a:solidFill>
            <a:srgbClr val="FFFF00"/>
          </a:solidFill>
          <a:ln w="19050">
            <a:solidFill>
              <a:schemeClr val="accent4">
                <a:lumMod val="75000"/>
              </a:schemeClr>
            </a:solidFill>
          </a:ln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1200" dirty="0"/>
              <a:t>Data retention period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666282" y="219090"/>
            <a:ext cx="1469655" cy="1161069"/>
          </a:xfrm>
          <a:prstGeom prst="rect">
            <a:avLst/>
          </a:prstGeom>
          <a:solidFill>
            <a:srgbClr val="FFFF00"/>
          </a:solidFill>
          <a:ln w="19050">
            <a:solidFill>
              <a:schemeClr val="accent4">
                <a:lumMod val="75000"/>
              </a:schemeClr>
            </a:solidFill>
          </a:ln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1100" dirty="0"/>
              <a:t>As long as business needs it. Each signed-off delivery as of a Reporting Date should be re-creatable</a:t>
            </a:r>
          </a:p>
        </p:txBody>
      </p:sp>
      <p:cxnSp>
        <p:nvCxnSpPr>
          <p:cNvPr id="7" name="Straight Arrow Connector 6"/>
          <p:cNvCxnSpPr>
            <a:stCxn id="97" idx="2"/>
          </p:cNvCxnSpPr>
          <p:nvPr/>
        </p:nvCxnSpPr>
        <p:spPr>
          <a:xfrm flipH="1">
            <a:off x="8784402" y="1380159"/>
            <a:ext cx="1616708" cy="1268367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93" idx="0"/>
            <a:endCxn id="79" idx="2"/>
          </p:cNvCxnSpPr>
          <p:nvPr/>
        </p:nvCxnSpPr>
        <p:spPr>
          <a:xfrm flipH="1" flipV="1">
            <a:off x="9174384" y="5244219"/>
            <a:ext cx="15239" cy="450556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/>
          <p:nvPr/>
        </p:nvCxnSpPr>
        <p:spPr>
          <a:xfrm flipH="1" flipV="1">
            <a:off x="6305330" y="5241255"/>
            <a:ext cx="13978" cy="374569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679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01FF1-C63B-412E-ABF0-3D0E918900AC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solidFill>
            <a:srgbClr val="DFEEDE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-OFF proces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9130828" y="607645"/>
            <a:ext cx="2308698" cy="422405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</a:rPr>
              <a:t>FOR DISCUSSIO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413" y="1517937"/>
            <a:ext cx="11843587" cy="471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683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xiP8OtSSQ0DUMUr48jeg"/>
</p:tagLst>
</file>

<file path=ppt/theme/theme1.xml><?xml version="1.0" encoding="utf-8"?>
<a:theme xmlns:a="http://schemas.openxmlformats.org/drawingml/2006/main" name="AZ Technology_Global_Master_16_9_June_2017">
  <a:themeElements>
    <a:clrScheme name="AZ_PPT_GLOBAL_DESIGNFARBEN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5AB6B79375F34E9D381270D1F5E622" ma:contentTypeVersion="18" ma:contentTypeDescription="Create a new document." ma:contentTypeScope="" ma:versionID="3cd396bf59f1103a26134e8238af104d">
  <xsd:schema xmlns:xsd="http://www.w3.org/2001/XMLSchema" xmlns:xs="http://www.w3.org/2001/XMLSchema" xmlns:p="http://schemas.microsoft.com/office/2006/metadata/properties" xmlns:ns1="http://schemas.microsoft.com/sharepoint/v3" xmlns:ns2="5b2f868c-8f92-4251-9c5c-5006411a5d63" xmlns:ns3="0f693eaa-2d88-41b4-a1c1-32ba42dc72ad" targetNamespace="http://schemas.microsoft.com/office/2006/metadata/properties" ma:root="true" ma:fieldsID="8eefaf743d75817a01829804821293b8" ns1:_="" ns2:_="" ns3:_="">
    <xsd:import namespace="http://schemas.microsoft.com/sharepoint/v3"/>
    <xsd:import namespace="5b2f868c-8f92-4251-9c5c-5006411a5d63"/>
    <xsd:import namespace="0f693eaa-2d88-41b4-a1c1-32ba42dc72ad"/>
    <xsd:element name="properties">
      <xsd:complexType>
        <xsd:sequence>
          <xsd:element name="documentManagement">
            <xsd:complexType>
              <xsd:all>
                <xsd:element ref="ns1:DocumentSetDescription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8" nillable="true" ma:displayName="Description" ma:description="A description of the Document Set" ma:internalName="DocumentSetDescription">
      <xsd:simpleType>
        <xsd:restriction base="dms:Note"/>
      </xsd:simpleType>
    </xsd:element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2f868c-8f92-4251-9c5c-5006411a5d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693eaa-2d88-41b4-a1c1-32ba42dc72a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8d801aa8-04bd-48eb-82b9-c99783f147a3}" ma:internalName="TaxCatchAll" ma:showField="CatchAllData" ma:web="0f693eaa-2d88-41b4-a1c1-32ba42dc72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etDescription xmlns="http://schemas.microsoft.com/sharepoint/v3" xsi:nil="true"/>
    <_ip_UnifiedCompliancePolicyUIAction xmlns="http://schemas.microsoft.com/sharepoint/v3" xsi:nil="true"/>
    <_ip_UnifiedCompliancePolicyProperties xmlns="http://schemas.microsoft.com/sharepoint/v3" xsi:nil="true"/>
    <lcf76f155ced4ddcb4097134ff3c332f xmlns="5b2f868c-8f92-4251-9c5c-5006411a5d63">
      <Terms xmlns="http://schemas.microsoft.com/office/infopath/2007/PartnerControls"/>
    </lcf76f155ced4ddcb4097134ff3c332f>
    <TaxCatchAll xmlns="0f693eaa-2d88-41b4-a1c1-32ba42dc72ad" xsi:nil="true"/>
  </documentManagement>
</p:properties>
</file>

<file path=customXml/itemProps1.xml><?xml version="1.0" encoding="utf-8"?>
<ds:datastoreItem xmlns:ds="http://schemas.openxmlformats.org/officeDocument/2006/customXml" ds:itemID="{656FE536-F971-4A66-BB17-CC1B6A373CFC}"/>
</file>

<file path=customXml/itemProps2.xml><?xml version="1.0" encoding="utf-8"?>
<ds:datastoreItem xmlns:ds="http://schemas.openxmlformats.org/officeDocument/2006/customXml" ds:itemID="{6C07DD76-5C36-41B7-ABB2-37FE97703B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119161-91AC-45ED-BEB4-8147A94B3F3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5b2f868c-8f92-4251-9c5c-5006411a5d63"/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8</Words>
  <Application>Microsoft Office PowerPoint</Application>
  <PresentationFormat>Widescreen</PresentationFormat>
  <Paragraphs>57</Paragraphs>
  <Slides>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AZ Technology_Global_Master_16_9_June_2017</vt:lpstr>
      <vt:lpstr>DATA retention time in GDp</vt:lpstr>
      <vt:lpstr>Sign-OFF process</vt:lpstr>
    </vt:vector>
  </TitlesOfParts>
  <Company>Allian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DP developments aim to deliver required functionalities and automatize end-to-end Midcorp data management</dc:title>
  <dc:creator>Michelet, Arnaud (Allianz SE)</dc:creator>
  <cp:lastModifiedBy>Boudet, Myriam (Allianz SE)</cp:lastModifiedBy>
  <cp:revision>21</cp:revision>
  <dcterms:created xsi:type="dcterms:W3CDTF">2020-09-14T07:51:53Z</dcterms:created>
  <dcterms:modified xsi:type="dcterms:W3CDTF">2020-09-29T15:3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3bc15e-e7bf-41c1-bdb3-03882d8a2e2c_Enabled">
    <vt:lpwstr>true</vt:lpwstr>
  </property>
  <property fmtid="{D5CDD505-2E9C-101B-9397-08002B2CF9AE}" pid="3" name="MSIP_Label_863bc15e-e7bf-41c1-bdb3-03882d8a2e2c_SetDate">
    <vt:lpwstr>2020-09-14T07:55:08Z</vt:lpwstr>
  </property>
  <property fmtid="{D5CDD505-2E9C-101B-9397-08002B2CF9AE}" pid="4" name="MSIP_Label_863bc15e-e7bf-41c1-bdb3-03882d8a2e2c_Method">
    <vt:lpwstr>Standard</vt:lpwstr>
  </property>
  <property fmtid="{D5CDD505-2E9C-101B-9397-08002B2CF9AE}" pid="5" name="MSIP_Label_863bc15e-e7bf-41c1-bdb3-03882d8a2e2c_Name">
    <vt:lpwstr>863bc15e-e7bf-41c1-bdb3-03882d8a2e2c</vt:lpwstr>
  </property>
  <property fmtid="{D5CDD505-2E9C-101B-9397-08002B2CF9AE}" pid="6" name="MSIP_Label_863bc15e-e7bf-41c1-bdb3-03882d8a2e2c_SiteId">
    <vt:lpwstr>6e06e42d-6925-47c6-b9e7-9581c7ca302a</vt:lpwstr>
  </property>
  <property fmtid="{D5CDD505-2E9C-101B-9397-08002B2CF9AE}" pid="7" name="MSIP_Label_863bc15e-e7bf-41c1-bdb3-03882d8a2e2c_ActionId">
    <vt:lpwstr>fba602a0-5358-400b-a74a-20e8e9498fdd</vt:lpwstr>
  </property>
  <property fmtid="{D5CDD505-2E9C-101B-9397-08002B2CF9AE}" pid="8" name="MSIP_Label_863bc15e-e7bf-41c1-bdb3-03882d8a2e2c_ContentBits">
    <vt:lpwstr>0</vt:lpwstr>
  </property>
  <property fmtid="{D5CDD505-2E9C-101B-9397-08002B2CF9AE}" pid="9" name="ContentTypeId">
    <vt:lpwstr>0x0101000C5AB6B79375F34E9D381270D1F5E622</vt:lpwstr>
  </property>
</Properties>
</file>